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374913" r:id="rId2"/>
  </p:sldIdLst>
  <p:sldSz cx="18288000" cy="10287000"/>
  <p:notesSz cx="6858000" cy="9144000"/>
  <p:embeddedFontLst>
    <p:embeddedFont>
      <p:font typeface="ＭＳ Ｐゴシック" panose="020B0600070205080204" pitchFamily="34" charset="-128"/>
      <p:regular r:id="rId4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font" Target="fonts/font1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21983"/>
            <a:ext cx="17016168" cy="11017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49" y="1893095"/>
            <a:ext cx="17015045" cy="571261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810818" y="9975444"/>
            <a:ext cx="2477183" cy="3106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28467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26A3AC-397B-5730-54E0-75A8B62377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A74655FE-4A57-9DB0-9382-575465327E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74655FE-4A57-9DB0-9382-575465327E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5156766-DEA5-422E-5714-F24CA0F5CE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ecklist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1A30FD61-FB37-989F-D0AF-5DC837F0B90D}"/>
              </a:ext>
            </a:extLst>
          </p:cNvPr>
          <p:cNvSpPr txBox="1">
            <a:spLocks/>
          </p:cNvSpPr>
          <p:nvPr/>
        </p:nvSpPr>
        <p:spPr>
          <a:xfrm>
            <a:off x="17375802" y="9974502"/>
            <a:ext cx="535782" cy="289716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>
                <a:solidFill>
                  <a:schemeClr val="bg1"/>
                </a:solidFill>
              </a:rPr>
              <a:pPr algn="ctr"/>
              <a:t>1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Shape1_20211020_181843">
            <a:extLst>
              <a:ext uri="{FF2B5EF4-FFF2-40B4-BE49-F238E27FC236}">
                <a16:creationId xmlns:a16="http://schemas.microsoft.com/office/drawing/2014/main" id="{8759D7D5-9DBD-7FA3-EC13-E67A49EA18D4}"/>
              </a:ext>
            </a:extLst>
          </p:cNvPr>
          <p:cNvSpPr/>
          <p:nvPr/>
        </p:nvSpPr>
        <p:spPr>
          <a:xfrm>
            <a:off x="1013405" y="2721422"/>
            <a:ext cx="2551698" cy="4930488"/>
          </a:xfrm>
          <a:custGeom>
            <a:avLst/>
            <a:gdLst>
              <a:gd name="connsiteX0" fmla="*/ 5805 w 1259143"/>
              <a:gd name="connsiteY0" fmla="*/ 0 h 2506678"/>
              <a:gd name="connsiteX1" fmla="*/ 1259143 w 1259143"/>
              <a:gd name="connsiteY1" fmla="*/ 1253339 h 2506678"/>
              <a:gd name="connsiteX2" fmla="*/ 5805 w 1259143"/>
              <a:gd name="connsiteY2" fmla="*/ 2506678 h 2506678"/>
              <a:gd name="connsiteX3" fmla="*/ 0 w 1259143"/>
              <a:gd name="connsiteY3" fmla="*/ 2506385 h 2506678"/>
              <a:gd name="connsiteX4" fmla="*/ 0 w 1259143"/>
              <a:gd name="connsiteY4" fmla="*/ 293 h 2506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9143" h="2506678">
                <a:moveTo>
                  <a:pt x="5805" y="0"/>
                </a:moveTo>
                <a:cubicBezTo>
                  <a:pt x="698004" y="0"/>
                  <a:pt x="1259143" y="561139"/>
                  <a:pt x="1259143" y="1253339"/>
                </a:cubicBezTo>
                <a:cubicBezTo>
                  <a:pt x="1259143" y="1945539"/>
                  <a:pt x="698004" y="2506678"/>
                  <a:pt x="5805" y="2506678"/>
                </a:cubicBezTo>
                <a:lnTo>
                  <a:pt x="0" y="2506385"/>
                </a:lnTo>
                <a:lnTo>
                  <a:pt x="0" y="293"/>
                </a:lnTo>
                <a:close/>
              </a:path>
            </a:pathLst>
          </a:custGeom>
          <a:solidFill>
            <a:srgbClr val="FFFFFF"/>
          </a:solidFill>
          <a:ln w="25400" cap="flat" cmpd="sng" algn="ctr">
            <a:solidFill>
              <a:schemeClr val="tx2"/>
            </a:solidFill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defTabSz="938355">
              <a:defRPr/>
            </a:pPr>
            <a:endParaRPr lang="en-US" sz="3600" dirty="0">
              <a:solidFill>
                <a:srgbClr val="005073"/>
              </a:solidFill>
            </a:endParaRP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184C9875-B8F2-F255-B7A7-964B16D19004}"/>
              </a:ext>
            </a:extLst>
          </p:cNvPr>
          <p:cNvSpPr/>
          <p:nvPr/>
        </p:nvSpPr>
        <p:spPr>
          <a:xfrm>
            <a:off x="1013410" y="2831585"/>
            <a:ext cx="2437679" cy="4710165"/>
          </a:xfrm>
          <a:custGeom>
            <a:avLst/>
            <a:gdLst>
              <a:gd name="connsiteX0" fmla="*/ 5805 w 1259143"/>
              <a:gd name="connsiteY0" fmla="*/ 0 h 2506678"/>
              <a:gd name="connsiteX1" fmla="*/ 1259143 w 1259143"/>
              <a:gd name="connsiteY1" fmla="*/ 1253339 h 2506678"/>
              <a:gd name="connsiteX2" fmla="*/ 5805 w 1259143"/>
              <a:gd name="connsiteY2" fmla="*/ 2506678 h 2506678"/>
              <a:gd name="connsiteX3" fmla="*/ 0 w 1259143"/>
              <a:gd name="connsiteY3" fmla="*/ 2506385 h 2506678"/>
              <a:gd name="connsiteX4" fmla="*/ 0 w 1259143"/>
              <a:gd name="connsiteY4" fmla="*/ 293 h 2506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9143" h="2506678">
                <a:moveTo>
                  <a:pt x="5805" y="0"/>
                </a:moveTo>
                <a:cubicBezTo>
                  <a:pt x="698004" y="0"/>
                  <a:pt x="1259143" y="561139"/>
                  <a:pt x="1259143" y="1253339"/>
                </a:cubicBezTo>
                <a:cubicBezTo>
                  <a:pt x="1259143" y="1945539"/>
                  <a:pt x="698004" y="2506678"/>
                  <a:pt x="5805" y="2506678"/>
                </a:cubicBezTo>
                <a:lnTo>
                  <a:pt x="0" y="2506385"/>
                </a:lnTo>
                <a:lnTo>
                  <a:pt x="0" y="293"/>
                </a:lnTo>
                <a:close/>
              </a:path>
            </a:pathLst>
          </a:cu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defTabSz="938355">
              <a:defRPr/>
            </a:pPr>
            <a:endParaRPr lang="en-US" sz="3600" dirty="0">
              <a:solidFill>
                <a:srgbClr val="005073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14B44AB5-A902-959F-1B71-188B3ACFD5DB}"/>
              </a:ext>
            </a:extLst>
          </p:cNvPr>
          <p:cNvSpPr/>
          <p:nvPr/>
        </p:nvSpPr>
        <p:spPr>
          <a:xfrm>
            <a:off x="1905841" y="2386232"/>
            <a:ext cx="173507" cy="168407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38355">
              <a:defRPr/>
            </a:pPr>
            <a:endParaRPr lang="en-US" sz="3600" dirty="0">
              <a:solidFill>
                <a:srgbClr val="005073"/>
              </a:solidFill>
            </a:endParaRPr>
          </a:p>
        </p:txBody>
      </p:sp>
      <p:cxnSp>
        <p:nvCxnSpPr>
          <p:cNvPr id="7" name="Shape1_20220517_163352">
            <a:extLst>
              <a:ext uri="{FF2B5EF4-FFF2-40B4-BE49-F238E27FC236}">
                <a16:creationId xmlns:a16="http://schemas.microsoft.com/office/drawing/2014/main" id="{27077A94-BBE1-565C-6D14-9705463F470E}"/>
              </a:ext>
            </a:extLst>
          </p:cNvPr>
          <p:cNvCxnSpPr>
            <a:cxnSpLocks/>
            <a:stCxn id="6" idx="6"/>
            <a:endCxn id="8" idx="2"/>
          </p:cNvCxnSpPr>
          <p:nvPr/>
        </p:nvCxnSpPr>
        <p:spPr>
          <a:xfrm>
            <a:off x="2079346" y="2470436"/>
            <a:ext cx="2224475" cy="0"/>
          </a:xfrm>
          <a:prstGeom prst="line">
            <a:avLst/>
          </a:prstGeom>
          <a:noFill/>
          <a:ln w="9525" cap="flat" cmpd="sng" algn="ctr">
            <a:solidFill>
              <a:schemeClr val="accent3"/>
            </a:solidFill>
            <a:prstDash val="solid"/>
          </a:ln>
          <a:effectLst/>
        </p:spPr>
      </p:cxnSp>
      <p:sp>
        <p:nvSpPr>
          <p:cNvPr id="8" name="Shape2_20220517_163352">
            <a:extLst>
              <a:ext uri="{FF2B5EF4-FFF2-40B4-BE49-F238E27FC236}">
                <a16:creationId xmlns:a16="http://schemas.microsoft.com/office/drawing/2014/main" id="{CEE229C7-94E9-AE5B-D85F-AA7433CE2C6D}"/>
              </a:ext>
            </a:extLst>
          </p:cNvPr>
          <p:cNvSpPr>
            <a:spLocks noChangeAspect="1"/>
          </p:cNvSpPr>
          <p:nvPr/>
        </p:nvSpPr>
        <p:spPr>
          <a:xfrm>
            <a:off x="4303820" y="2101954"/>
            <a:ext cx="739214" cy="736964"/>
          </a:xfrm>
          <a:prstGeom prst="ellipse">
            <a:avLst/>
          </a:prstGeom>
          <a:noFill/>
          <a:ln w="9525" cap="flat" cmpd="sng" algn="ctr">
            <a:solidFill>
              <a:schemeClr val="accent3"/>
            </a:solidFill>
            <a:prstDash val="solid"/>
          </a:ln>
          <a:effectLst/>
        </p:spPr>
        <p:txBody>
          <a:bodyPr rtlCol="0" anchor="ctr"/>
          <a:lstStyle/>
          <a:p>
            <a:pPr defTabSz="938355">
              <a:defRPr/>
            </a:pPr>
            <a:endParaRPr lang="en-US" sz="3600" dirty="0">
              <a:solidFill>
                <a:srgbClr val="005073"/>
              </a:solidFill>
            </a:endParaRPr>
          </a:p>
        </p:txBody>
      </p:sp>
      <p:sp>
        <p:nvSpPr>
          <p:cNvPr id="9" name="Shape1_20211020_182018">
            <a:extLst>
              <a:ext uri="{FF2B5EF4-FFF2-40B4-BE49-F238E27FC236}">
                <a16:creationId xmlns:a16="http://schemas.microsoft.com/office/drawing/2014/main" id="{26530910-EA32-6D78-937A-AC9CE1D99F63}"/>
              </a:ext>
            </a:extLst>
          </p:cNvPr>
          <p:cNvSpPr/>
          <p:nvPr/>
        </p:nvSpPr>
        <p:spPr>
          <a:xfrm>
            <a:off x="4414071" y="2211084"/>
            <a:ext cx="518700" cy="51870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F1201028-63D0-D64E-45F7-D482EE94CD8C}"/>
              </a:ext>
            </a:extLst>
          </p:cNvPr>
          <p:cNvSpPr>
            <a:spLocks/>
          </p:cNvSpPr>
          <p:nvPr/>
        </p:nvSpPr>
        <p:spPr bwMode="auto">
          <a:xfrm>
            <a:off x="4486597" y="2298527"/>
            <a:ext cx="373655" cy="343817"/>
          </a:xfrm>
          <a:custGeom>
            <a:avLst/>
            <a:gdLst>
              <a:gd name="T0" fmla="*/ 2218 w 2218"/>
              <a:gd name="T1" fmla="*/ 0 h 2050"/>
              <a:gd name="T2" fmla="*/ 2211 w 2218"/>
              <a:gd name="T3" fmla="*/ 84 h 2050"/>
              <a:gd name="T4" fmla="*/ 864 w 2218"/>
              <a:gd name="T5" fmla="*/ 1798 h 2050"/>
              <a:gd name="T6" fmla="*/ 520 w 2218"/>
              <a:gd name="T7" fmla="*/ 1882 h 2050"/>
              <a:gd name="T8" fmla="*/ 0 w 2218"/>
              <a:gd name="T9" fmla="*/ 1155 h 2050"/>
              <a:gd name="T10" fmla="*/ 329 w 2218"/>
              <a:gd name="T11" fmla="*/ 1017 h 2050"/>
              <a:gd name="T12" fmla="*/ 696 w 2218"/>
              <a:gd name="T13" fmla="*/ 1484 h 2050"/>
              <a:gd name="T14" fmla="*/ 2218 w 2218"/>
              <a:gd name="T15" fmla="*/ 0 h 20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218" h="2050">
                <a:moveTo>
                  <a:pt x="2218" y="0"/>
                </a:moveTo>
                <a:cubicBezTo>
                  <a:pt x="2211" y="84"/>
                  <a:pt x="2211" y="84"/>
                  <a:pt x="2211" y="84"/>
                </a:cubicBezTo>
                <a:cubicBezTo>
                  <a:pt x="1507" y="604"/>
                  <a:pt x="1132" y="1247"/>
                  <a:pt x="864" y="1798"/>
                </a:cubicBezTo>
                <a:cubicBezTo>
                  <a:pt x="704" y="1905"/>
                  <a:pt x="589" y="2050"/>
                  <a:pt x="520" y="1882"/>
                </a:cubicBezTo>
                <a:cubicBezTo>
                  <a:pt x="436" y="1660"/>
                  <a:pt x="252" y="1239"/>
                  <a:pt x="0" y="1155"/>
                </a:cubicBezTo>
                <a:cubicBezTo>
                  <a:pt x="107" y="1033"/>
                  <a:pt x="206" y="1002"/>
                  <a:pt x="329" y="1017"/>
                </a:cubicBezTo>
                <a:cubicBezTo>
                  <a:pt x="489" y="1040"/>
                  <a:pt x="635" y="1346"/>
                  <a:pt x="696" y="1484"/>
                </a:cubicBezTo>
                <a:cubicBezTo>
                  <a:pt x="1025" y="933"/>
                  <a:pt x="1629" y="306"/>
                  <a:pt x="221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87688" tIns="93845" rIns="187688" bIns="93845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2700"/>
          </a:p>
        </p:txBody>
      </p:sp>
      <p:sp>
        <p:nvSpPr>
          <p:cNvPr id="11" name="Shape0_20211215_104047">
            <a:extLst>
              <a:ext uri="{FF2B5EF4-FFF2-40B4-BE49-F238E27FC236}">
                <a16:creationId xmlns:a16="http://schemas.microsoft.com/office/drawing/2014/main" id="{79269156-2A4E-321B-0885-819B8C78C9F5}"/>
              </a:ext>
            </a:extLst>
          </p:cNvPr>
          <p:cNvSpPr>
            <a:spLocks/>
          </p:cNvSpPr>
          <p:nvPr/>
        </p:nvSpPr>
        <p:spPr>
          <a:xfrm>
            <a:off x="5259951" y="2285770"/>
            <a:ext cx="11957169" cy="369332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7095" lvl="1" defTabSz="3999774">
              <a:spcBef>
                <a:spcPct val="20000"/>
              </a:spcBef>
              <a:buClr>
                <a:srgbClr val="44546A"/>
              </a:buClr>
              <a:buSzPct val="120000"/>
              <a:defRPr/>
            </a:pPr>
            <a:r>
              <a:rPr lang="en-US" sz="24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4BE9EBD-5879-3962-7956-D94CC2742017}"/>
              </a:ext>
            </a:extLst>
          </p:cNvPr>
          <p:cNvSpPr/>
          <p:nvPr/>
        </p:nvSpPr>
        <p:spPr>
          <a:xfrm>
            <a:off x="3782027" y="4168274"/>
            <a:ext cx="173507" cy="168407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38355">
              <a:defRPr/>
            </a:pPr>
            <a:endParaRPr lang="en-US" sz="3600" dirty="0">
              <a:solidFill>
                <a:srgbClr val="005073"/>
              </a:solidFill>
            </a:endParaRPr>
          </a:p>
        </p:txBody>
      </p:sp>
      <p:cxnSp>
        <p:nvCxnSpPr>
          <p:cNvPr id="13" name="Shape3_20220517_163352">
            <a:extLst>
              <a:ext uri="{FF2B5EF4-FFF2-40B4-BE49-F238E27FC236}">
                <a16:creationId xmlns:a16="http://schemas.microsoft.com/office/drawing/2014/main" id="{1BE88B83-2D0A-4F11-F5DB-032E6028F41A}"/>
              </a:ext>
            </a:extLst>
          </p:cNvPr>
          <p:cNvCxnSpPr>
            <a:cxnSpLocks/>
            <a:stCxn id="12" idx="6"/>
            <a:endCxn id="14" idx="2"/>
          </p:cNvCxnSpPr>
          <p:nvPr/>
        </p:nvCxnSpPr>
        <p:spPr>
          <a:xfrm>
            <a:off x="3955532" y="4252476"/>
            <a:ext cx="348281" cy="3"/>
          </a:xfrm>
          <a:prstGeom prst="line">
            <a:avLst/>
          </a:prstGeom>
          <a:noFill/>
          <a:ln w="9525" cap="flat" cmpd="sng" algn="ctr">
            <a:solidFill>
              <a:schemeClr val="accent3"/>
            </a:solidFill>
            <a:prstDash val="solid"/>
          </a:ln>
          <a:effectLst/>
        </p:spPr>
      </p:cxnSp>
      <p:sp>
        <p:nvSpPr>
          <p:cNvPr id="14" name="Shape4_20220517_163352">
            <a:extLst>
              <a:ext uri="{FF2B5EF4-FFF2-40B4-BE49-F238E27FC236}">
                <a16:creationId xmlns:a16="http://schemas.microsoft.com/office/drawing/2014/main" id="{5488A2FF-5F85-983D-A17D-44935D925317}"/>
              </a:ext>
            </a:extLst>
          </p:cNvPr>
          <p:cNvSpPr>
            <a:spLocks noChangeAspect="1"/>
          </p:cNvSpPr>
          <p:nvPr/>
        </p:nvSpPr>
        <p:spPr>
          <a:xfrm>
            <a:off x="4303814" y="3883997"/>
            <a:ext cx="739214" cy="736964"/>
          </a:xfrm>
          <a:prstGeom prst="ellipse">
            <a:avLst/>
          </a:prstGeom>
          <a:noFill/>
          <a:ln w="9525" cap="flat" cmpd="sng" algn="ctr">
            <a:solidFill>
              <a:schemeClr val="accent3"/>
            </a:solidFill>
            <a:prstDash val="solid"/>
          </a:ln>
          <a:effectLst/>
        </p:spPr>
        <p:txBody>
          <a:bodyPr rtlCol="0" anchor="ctr"/>
          <a:lstStyle/>
          <a:p>
            <a:pPr defTabSz="938355">
              <a:defRPr/>
            </a:pPr>
            <a:endParaRPr lang="en-US" sz="3600" dirty="0">
              <a:solidFill>
                <a:srgbClr val="005073"/>
              </a:solidFill>
            </a:endParaRPr>
          </a:p>
        </p:txBody>
      </p:sp>
      <p:sp>
        <p:nvSpPr>
          <p:cNvPr id="15" name="Shape2_20211020_182018">
            <a:extLst>
              <a:ext uri="{FF2B5EF4-FFF2-40B4-BE49-F238E27FC236}">
                <a16:creationId xmlns:a16="http://schemas.microsoft.com/office/drawing/2014/main" id="{AE392260-B0A9-2C72-C8D2-50AE508FC669}"/>
              </a:ext>
            </a:extLst>
          </p:cNvPr>
          <p:cNvSpPr/>
          <p:nvPr/>
        </p:nvSpPr>
        <p:spPr>
          <a:xfrm>
            <a:off x="4414071" y="3993120"/>
            <a:ext cx="518700" cy="51870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6" name="Freeform 5">
            <a:extLst>
              <a:ext uri="{FF2B5EF4-FFF2-40B4-BE49-F238E27FC236}">
                <a16:creationId xmlns:a16="http://schemas.microsoft.com/office/drawing/2014/main" id="{A518261B-62EF-B92A-8B92-C085ABF8BAC4}"/>
              </a:ext>
            </a:extLst>
          </p:cNvPr>
          <p:cNvSpPr>
            <a:spLocks/>
          </p:cNvSpPr>
          <p:nvPr/>
        </p:nvSpPr>
        <p:spPr bwMode="auto">
          <a:xfrm>
            <a:off x="4486597" y="4080565"/>
            <a:ext cx="373655" cy="343817"/>
          </a:xfrm>
          <a:custGeom>
            <a:avLst/>
            <a:gdLst>
              <a:gd name="T0" fmla="*/ 2218 w 2218"/>
              <a:gd name="T1" fmla="*/ 0 h 2050"/>
              <a:gd name="T2" fmla="*/ 2211 w 2218"/>
              <a:gd name="T3" fmla="*/ 84 h 2050"/>
              <a:gd name="T4" fmla="*/ 864 w 2218"/>
              <a:gd name="T5" fmla="*/ 1798 h 2050"/>
              <a:gd name="T6" fmla="*/ 520 w 2218"/>
              <a:gd name="T7" fmla="*/ 1882 h 2050"/>
              <a:gd name="T8" fmla="*/ 0 w 2218"/>
              <a:gd name="T9" fmla="*/ 1155 h 2050"/>
              <a:gd name="T10" fmla="*/ 329 w 2218"/>
              <a:gd name="T11" fmla="*/ 1017 h 2050"/>
              <a:gd name="T12" fmla="*/ 696 w 2218"/>
              <a:gd name="T13" fmla="*/ 1484 h 2050"/>
              <a:gd name="T14" fmla="*/ 2218 w 2218"/>
              <a:gd name="T15" fmla="*/ 0 h 20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218" h="2050">
                <a:moveTo>
                  <a:pt x="2218" y="0"/>
                </a:moveTo>
                <a:cubicBezTo>
                  <a:pt x="2211" y="84"/>
                  <a:pt x="2211" y="84"/>
                  <a:pt x="2211" y="84"/>
                </a:cubicBezTo>
                <a:cubicBezTo>
                  <a:pt x="1507" y="604"/>
                  <a:pt x="1132" y="1247"/>
                  <a:pt x="864" y="1798"/>
                </a:cubicBezTo>
                <a:cubicBezTo>
                  <a:pt x="704" y="1905"/>
                  <a:pt x="589" y="2050"/>
                  <a:pt x="520" y="1882"/>
                </a:cubicBezTo>
                <a:cubicBezTo>
                  <a:pt x="436" y="1660"/>
                  <a:pt x="252" y="1239"/>
                  <a:pt x="0" y="1155"/>
                </a:cubicBezTo>
                <a:cubicBezTo>
                  <a:pt x="107" y="1033"/>
                  <a:pt x="206" y="1002"/>
                  <a:pt x="329" y="1017"/>
                </a:cubicBezTo>
                <a:cubicBezTo>
                  <a:pt x="489" y="1040"/>
                  <a:pt x="635" y="1346"/>
                  <a:pt x="696" y="1484"/>
                </a:cubicBezTo>
                <a:cubicBezTo>
                  <a:pt x="1025" y="933"/>
                  <a:pt x="1629" y="306"/>
                  <a:pt x="221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87688" tIns="93845" rIns="187688" bIns="93845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2700"/>
          </a:p>
        </p:txBody>
      </p:sp>
      <p:sp>
        <p:nvSpPr>
          <p:cNvPr id="17" name="Shape1_20211215_104047">
            <a:extLst>
              <a:ext uri="{FF2B5EF4-FFF2-40B4-BE49-F238E27FC236}">
                <a16:creationId xmlns:a16="http://schemas.microsoft.com/office/drawing/2014/main" id="{474E536A-22F9-A3C9-DD8E-AECADD469B0F}"/>
              </a:ext>
            </a:extLst>
          </p:cNvPr>
          <p:cNvSpPr>
            <a:spLocks/>
          </p:cNvSpPr>
          <p:nvPr/>
        </p:nvSpPr>
        <p:spPr>
          <a:xfrm>
            <a:off x="5259951" y="4067810"/>
            <a:ext cx="11957169" cy="369332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7095" lvl="1" defTabSz="3999774">
              <a:spcBef>
                <a:spcPct val="20000"/>
              </a:spcBef>
              <a:buClr>
                <a:srgbClr val="44546A"/>
              </a:buClr>
              <a:buSzPct val="120000"/>
              <a:defRPr/>
            </a:pPr>
            <a:r>
              <a:rPr lang="en-US" sz="24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06BF3C57-1543-C6CB-181E-2FFB1F662E3D}"/>
              </a:ext>
            </a:extLst>
          </p:cNvPr>
          <p:cNvSpPr/>
          <p:nvPr/>
        </p:nvSpPr>
        <p:spPr>
          <a:xfrm>
            <a:off x="3819658" y="5950313"/>
            <a:ext cx="173507" cy="168407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38355">
              <a:defRPr/>
            </a:pPr>
            <a:endParaRPr lang="en-US" sz="3600" dirty="0">
              <a:solidFill>
                <a:srgbClr val="005073"/>
              </a:solidFill>
            </a:endParaRPr>
          </a:p>
        </p:txBody>
      </p:sp>
      <p:cxnSp>
        <p:nvCxnSpPr>
          <p:cNvPr id="19" name="Shape7_20220517_163352">
            <a:extLst>
              <a:ext uri="{FF2B5EF4-FFF2-40B4-BE49-F238E27FC236}">
                <a16:creationId xmlns:a16="http://schemas.microsoft.com/office/drawing/2014/main" id="{D9C187FB-FE73-0852-7AD4-19FE8F9BDF9E}"/>
              </a:ext>
            </a:extLst>
          </p:cNvPr>
          <p:cNvCxnSpPr>
            <a:cxnSpLocks/>
            <a:stCxn id="18" idx="6"/>
            <a:endCxn id="20" idx="2"/>
          </p:cNvCxnSpPr>
          <p:nvPr/>
        </p:nvCxnSpPr>
        <p:spPr>
          <a:xfrm>
            <a:off x="3993162" y="6034517"/>
            <a:ext cx="310650" cy="6"/>
          </a:xfrm>
          <a:prstGeom prst="line">
            <a:avLst/>
          </a:prstGeom>
          <a:noFill/>
          <a:ln w="9525" cap="flat" cmpd="sng" algn="ctr">
            <a:solidFill>
              <a:schemeClr val="accent3"/>
            </a:solidFill>
            <a:prstDash val="solid"/>
          </a:ln>
          <a:effectLst/>
        </p:spPr>
      </p:cxnSp>
      <p:sp>
        <p:nvSpPr>
          <p:cNvPr id="20" name="Shape8_20220517_163352">
            <a:extLst>
              <a:ext uri="{FF2B5EF4-FFF2-40B4-BE49-F238E27FC236}">
                <a16:creationId xmlns:a16="http://schemas.microsoft.com/office/drawing/2014/main" id="{53E5AA82-3A98-DAE2-8A45-88E0868363A8}"/>
              </a:ext>
            </a:extLst>
          </p:cNvPr>
          <p:cNvSpPr>
            <a:spLocks noChangeAspect="1"/>
          </p:cNvSpPr>
          <p:nvPr/>
        </p:nvSpPr>
        <p:spPr>
          <a:xfrm>
            <a:off x="4303814" y="5666041"/>
            <a:ext cx="739214" cy="736964"/>
          </a:xfrm>
          <a:prstGeom prst="ellipse">
            <a:avLst/>
          </a:prstGeom>
          <a:noFill/>
          <a:ln w="9525" cap="flat" cmpd="sng" algn="ctr">
            <a:solidFill>
              <a:schemeClr val="accent3"/>
            </a:solidFill>
            <a:prstDash val="solid"/>
          </a:ln>
          <a:effectLst/>
        </p:spPr>
        <p:txBody>
          <a:bodyPr rtlCol="0" anchor="ctr"/>
          <a:lstStyle/>
          <a:p>
            <a:pPr defTabSz="938355">
              <a:defRPr/>
            </a:pPr>
            <a:endParaRPr lang="en-US" sz="3600" dirty="0">
              <a:solidFill>
                <a:srgbClr val="005073"/>
              </a:solidFill>
            </a:endParaRPr>
          </a:p>
        </p:txBody>
      </p:sp>
      <p:sp>
        <p:nvSpPr>
          <p:cNvPr id="21" name="Shape4_20211020_182018">
            <a:extLst>
              <a:ext uri="{FF2B5EF4-FFF2-40B4-BE49-F238E27FC236}">
                <a16:creationId xmlns:a16="http://schemas.microsoft.com/office/drawing/2014/main" id="{BE6AEB63-ECD3-1776-80EC-FA5D801443A2}"/>
              </a:ext>
            </a:extLst>
          </p:cNvPr>
          <p:cNvSpPr/>
          <p:nvPr/>
        </p:nvSpPr>
        <p:spPr>
          <a:xfrm>
            <a:off x="4414071" y="5775162"/>
            <a:ext cx="518700" cy="51870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2" name="Freeform 5">
            <a:extLst>
              <a:ext uri="{FF2B5EF4-FFF2-40B4-BE49-F238E27FC236}">
                <a16:creationId xmlns:a16="http://schemas.microsoft.com/office/drawing/2014/main" id="{2B0F5BAA-0753-1E03-A683-BCFC8DBC5B8A}"/>
              </a:ext>
            </a:extLst>
          </p:cNvPr>
          <p:cNvSpPr>
            <a:spLocks/>
          </p:cNvSpPr>
          <p:nvPr/>
        </p:nvSpPr>
        <p:spPr bwMode="auto">
          <a:xfrm>
            <a:off x="4486597" y="5862605"/>
            <a:ext cx="373655" cy="343817"/>
          </a:xfrm>
          <a:custGeom>
            <a:avLst/>
            <a:gdLst>
              <a:gd name="T0" fmla="*/ 2218 w 2218"/>
              <a:gd name="T1" fmla="*/ 0 h 2050"/>
              <a:gd name="T2" fmla="*/ 2211 w 2218"/>
              <a:gd name="T3" fmla="*/ 84 h 2050"/>
              <a:gd name="T4" fmla="*/ 864 w 2218"/>
              <a:gd name="T5" fmla="*/ 1798 h 2050"/>
              <a:gd name="T6" fmla="*/ 520 w 2218"/>
              <a:gd name="T7" fmla="*/ 1882 h 2050"/>
              <a:gd name="T8" fmla="*/ 0 w 2218"/>
              <a:gd name="T9" fmla="*/ 1155 h 2050"/>
              <a:gd name="T10" fmla="*/ 329 w 2218"/>
              <a:gd name="T11" fmla="*/ 1017 h 2050"/>
              <a:gd name="T12" fmla="*/ 696 w 2218"/>
              <a:gd name="T13" fmla="*/ 1484 h 2050"/>
              <a:gd name="T14" fmla="*/ 2218 w 2218"/>
              <a:gd name="T15" fmla="*/ 0 h 20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218" h="2050">
                <a:moveTo>
                  <a:pt x="2218" y="0"/>
                </a:moveTo>
                <a:cubicBezTo>
                  <a:pt x="2211" y="84"/>
                  <a:pt x="2211" y="84"/>
                  <a:pt x="2211" y="84"/>
                </a:cubicBezTo>
                <a:cubicBezTo>
                  <a:pt x="1507" y="604"/>
                  <a:pt x="1132" y="1247"/>
                  <a:pt x="864" y="1798"/>
                </a:cubicBezTo>
                <a:cubicBezTo>
                  <a:pt x="704" y="1905"/>
                  <a:pt x="589" y="2050"/>
                  <a:pt x="520" y="1882"/>
                </a:cubicBezTo>
                <a:cubicBezTo>
                  <a:pt x="436" y="1660"/>
                  <a:pt x="252" y="1239"/>
                  <a:pt x="0" y="1155"/>
                </a:cubicBezTo>
                <a:cubicBezTo>
                  <a:pt x="107" y="1033"/>
                  <a:pt x="206" y="1002"/>
                  <a:pt x="329" y="1017"/>
                </a:cubicBezTo>
                <a:cubicBezTo>
                  <a:pt x="489" y="1040"/>
                  <a:pt x="635" y="1346"/>
                  <a:pt x="696" y="1484"/>
                </a:cubicBezTo>
                <a:cubicBezTo>
                  <a:pt x="1025" y="933"/>
                  <a:pt x="1629" y="306"/>
                  <a:pt x="221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87688" tIns="93845" rIns="187688" bIns="93845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2700"/>
          </a:p>
        </p:txBody>
      </p:sp>
      <p:sp>
        <p:nvSpPr>
          <p:cNvPr id="23" name="Shape3_20211215_104047">
            <a:extLst>
              <a:ext uri="{FF2B5EF4-FFF2-40B4-BE49-F238E27FC236}">
                <a16:creationId xmlns:a16="http://schemas.microsoft.com/office/drawing/2014/main" id="{902F2CC4-27D8-34AE-83D4-4B9A83F6AD4C}"/>
              </a:ext>
            </a:extLst>
          </p:cNvPr>
          <p:cNvSpPr>
            <a:spLocks/>
          </p:cNvSpPr>
          <p:nvPr/>
        </p:nvSpPr>
        <p:spPr>
          <a:xfrm>
            <a:off x="5259951" y="5849848"/>
            <a:ext cx="11957169" cy="369332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7095" lvl="1" defTabSz="3999774">
              <a:spcBef>
                <a:spcPct val="20000"/>
              </a:spcBef>
              <a:buClr>
                <a:srgbClr val="44546A"/>
              </a:buClr>
              <a:buSzPct val="120000"/>
              <a:defRPr/>
            </a:pPr>
            <a:r>
              <a:rPr lang="en-US" sz="24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45E57C5E-C56F-E0CA-AA07-30918EC4517D}"/>
              </a:ext>
            </a:extLst>
          </p:cNvPr>
          <p:cNvSpPr/>
          <p:nvPr/>
        </p:nvSpPr>
        <p:spPr>
          <a:xfrm>
            <a:off x="2289254" y="7732354"/>
            <a:ext cx="173507" cy="168407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38355">
              <a:defRPr/>
            </a:pPr>
            <a:endParaRPr lang="en-US" sz="3600" dirty="0">
              <a:solidFill>
                <a:srgbClr val="005073"/>
              </a:solidFill>
            </a:endParaRPr>
          </a:p>
        </p:txBody>
      </p:sp>
      <p:cxnSp>
        <p:nvCxnSpPr>
          <p:cNvPr id="25" name="Shape9_20220517_163352">
            <a:extLst>
              <a:ext uri="{FF2B5EF4-FFF2-40B4-BE49-F238E27FC236}">
                <a16:creationId xmlns:a16="http://schemas.microsoft.com/office/drawing/2014/main" id="{563D3600-BE52-9C7B-975B-3F1CE26B6B22}"/>
              </a:ext>
            </a:extLst>
          </p:cNvPr>
          <p:cNvCxnSpPr>
            <a:cxnSpLocks/>
            <a:stCxn id="24" idx="6"/>
            <a:endCxn id="26" idx="2"/>
          </p:cNvCxnSpPr>
          <p:nvPr/>
        </p:nvCxnSpPr>
        <p:spPr>
          <a:xfrm>
            <a:off x="2462759" y="7816556"/>
            <a:ext cx="1841054" cy="11"/>
          </a:xfrm>
          <a:prstGeom prst="line">
            <a:avLst/>
          </a:prstGeom>
          <a:noFill/>
          <a:ln w="9525" cap="flat" cmpd="sng" algn="ctr">
            <a:solidFill>
              <a:schemeClr val="accent3"/>
            </a:solidFill>
            <a:prstDash val="solid"/>
          </a:ln>
          <a:effectLst/>
        </p:spPr>
      </p:cxnSp>
      <p:sp>
        <p:nvSpPr>
          <p:cNvPr id="26" name="Shape10_20220517_163352">
            <a:extLst>
              <a:ext uri="{FF2B5EF4-FFF2-40B4-BE49-F238E27FC236}">
                <a16:creationId xmlns:a16="http://schemas.microsoft.com/office/drawing/2014/main" id="{F43080B6-EBFC-955A-6907-C63291757C24}"/>
              </a:ext>
            </a:extLst>
          </p:cNvPr>
          <p:cNvSpPr>
            <a:spLocks noChangeAspect="1"/>
          </p:cNvSpPr>
          <p:nvPr/>
        </p:nvSpPr>
        <p:spPr>
          <a:xfrm>
            <a:off x="4303814" y="7448084"/>
            <a:ext cx="739214" cy="736964"/>
          </a:xfrm>
          <a:prstGeom prst="ellipse">
            <a:avLst/>
          </a:prstGeom>
          <a:noFill/>
          <a:ln w="9525" cap="flat" cmpd="sng" algn="ctr">
            <a:solidFill>
              <a:schemeClr val="accent3"/>
            </a:solidFill>
            <a:prstDash val="solid"/>
          </a:ln>
          <a:effectLst/>
        </p:spPr>
        <p:txBody>
          <a:bodyPr rtlCol="0" anchor="ctr"/>
          <a:lstStyle/>
          <a:p>
            <a:pPr defTabSz="938355">
              <a:defRPr/>
            </a:pPr>
            <a:endParaRPr lang="en-US" sz="3600" dirty="0">
              <a:solidFill>
                <a:srgbClr val="005073"/>
              </a:solidFill>
            </a:endParaRPr>
          </a:p>
        </p:txBody>
      </p:sp>
      <p:sp>
        <p:nvSpPr>
          <p:cNvPr id="27" name="Shape0_20211020_182018">
            <a:extLst>
              <a:ext uri="{FF2B5EF4-FFF2-40B4-BE49-F238E27FC236}">
                <a16:creationId xmlns:a16="http://schemas.microsoft.com/office/drawing/2014/main" id="{02E1AE4A-1ACB-558E-0DF5-5FEA97E1FAC3}"/>
              </a:ext>
            </a:extLst>
          </p:cNvPr>
          <p:cNvSpPr/>
          <p:nvPr/>
        </p:nvSpPr>
        <p:spPr>
          <a:xfrm>
            <a:off x="4414071" y="7557200"/>
            <a:ext cx="518700" cy="51870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8" name="Freeform 5">
            <a:extLst>
              <a:ext uri="{FF2B5EF4-FFF2-40B4-BE49-F238E27FC236}">
                <a16:creationId xmlns:a16="http://schemas.microsoft.com/office/drawing/2014/main" id="{DA2B5977-AC51-5993-3CFE-DFBAAB6723D6}"/>
              </a:ext>
            </a:extLst>
          </p:cNvPr>
          <p:cNvSpPr>
            <a:spLocks/>
          </p:cNvSpPr>
          <p:nvPr/>
        </p:nvSpPr>
        <p:spPr bwMode="auto">
          <a:xfrm>
            <a:off x="4486597" y="7644647"/>
            <a:ext cx="373655" cy="343817"/>
          </a:xfrm>
          <a:custGeom>
            <a:avLst/>
            <a:gdLst>
              <a:gd name="T0" fmla="*/ 2218 w 2218"/>
              <a:gd name="T1" fmla="*/ 0 h 2050"/>
              <a:gd name="T2" fmla="*/ 2211 w 2218"/>
              <a:gd name="T3" fmla="*/ 84 h 2050"/>
              <a:gd name="T4" fmla="*/ 864 w 2218"/>
              <a:gd name="T5" fmla="*/ 1798 h 2050"/>
              <a:gd name="T6" fmla="*/ 520 w 2218"/>
              <a:gd name="T7" fmla="*/ 1882 h 2050"/>
              <a:gd name="T8" fmla="*/ 0 w 2218"/>
              <a:gd name="T9" fmla="*/ 1155 h 2050"/>
              <a:gd name="T10" fmla="*/ 329 w 2218"/>
              <a:gd name="T11" fmla="*/ 1017 h 2050"/>
              <a:gd name="T12" fmla="*/ 696 w 2218"/>
              <a:gd name="T13" fmla="*/ 1484 h 2050"/>
              <a:gd name="T14" fmla="*/ 2218 w 2218"/>
              <a:gd name="T15" fmla="*/ 0 h 20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218" h="2050">
                <a:moveTo>
                  <a:pt x="2218" y="0"/>
                </a:moveTo>
                <a:cubicBezTo>
                  <a:pt x="2211" y="84"/>
                  <a:pt x="2211" y="84"/>
                  <a:pt x="2211" y="84"/>
                </a:cubicBezTo>
                <a:cubicBezTo>
                  <a:pt x="1507" y="604"/>
                  <a:pt x="1132" y="1247"/>
                  <a:pt x="864" y="1798"/>
                </a:cubicBezTo>
                <a:cubicBezTo>
                  <a:pt x="704" y="1905"/>
                  <a:pt x="589" y="2050"/>
                  <a:pt x="520" y="1882"/>
                </a:cubicBezTo>
                <a:cubicBezTo>
                  <a:pt x="436" y="1660"/>
                  <a:pt x="252" y="1239"/>
                  <a:pt x="0" y="1155"/>
                </a:cubicBezTo>
                <a:cubicBezTo>
                  <a:pt x="107" y="1033"/>
                  <a:pt x="206" y="1002"/>
                  <a:pt x="329" y="1017"/>
                </a:cubicBezTo>
                <a:cubicBezTo>
                  <a:pt x="489" y="1040"/>
                  <a:pt x="635" y="1346"/>
                  <a:pt x="696" y="1484"/>
                </a:cubicBezTo>
                <a:cubicBezTo>
                  <a:pt x="1025" y="933"/>
                  <a:pt x="1629" y="306"/>
                  <a:pt x="221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87688" tIns="93845" rIns="187688" bIns="93845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2700"/>
          </a:p>
        </p:txBody>
      </p:sp>
      <p:sp>
        <p:nvSpPr>
          <p:cNvPr id="29" name="Shape4_20211215_104047">
            <a:extLst>
              <a:ext uri="{FF2B5EF4-FFF2-40B4-BE49-F238E27FC236}">
                <a16:creationId xmlns:a16="http://schemas.microsoft.com/office/drawing/2014/main" id="{F4D976C6-DE92-2A82-BCC1-016BBB42086F}"/>
              </a:ext>
            </a:extLst>
          </p:cNvPr>
          <p:cNvSpPr>
            <a:spLocks/>
          </p:cNvSpPr>
          <p:nvPr/>
        </p:nvSpPr>
        <p:spPr>
          <a:xfrm>
            <a:off x="5259951" y="7631891"/>
            <a:ext cx="11957169" cy="369332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7095" lvl="1" defTabSz="3999774">
              <a:spcBef>
                <a:spcPct val="20000"/>
              </a:spcBef>
              <a:buClr>
                <a:srgbClr val="44546A"/>
              </a:buClr>
              <a:buSzPct val="120000"/>
              <a:defRPr/>
            </a:pPr>
            <a:r>
              <a:rPr lang="en-US" sz="24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cxnSp>
        <p:nvCxnSpPr>
          <p:cNvPr id="30" name="Shape2_20220715_102623">
            <a:extLst>
              <a:ext uri="{FF2B5EF4-FFF2-40B4-BE49-F238E27FC236}">
                <a16:creationId xmlns:a16="http://schemas.microsoft.com/office/drawing/2014/main" id="{09DB5024-B7C1-69B0-CF26-60790B6512D6}"/>
              </a:ext>
            </a:extLst>
          </p:cNvPr>
          <p:cNvCxnSpPr>
            <a:cxnSpLocks/>
          </p:cNvCxnSpPr>
          <p:nvPr/>
        </p:nvCxnSpPr>
        <p:spPr>
          <a:xfrm>
            <a:off x="5259952" y="6925544"/>
            <a:ext cx="11942954" cy="0"/>
          </a:xfrm>
          <a:prstGeom prst="line">
            <a:avLst/>
          </a:prstGeom>
          <a:noFill/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hape3_20220715_102623">
            <a:extLst>
              <a:ext uri="{FF2B5EF4-FFF2-40B4-BE49-F238E27FC236}">
                <a16:creationId xmlns:a16="http://schemas.microsoft.com/office/drawing/2014/main" id="{74C77369-CB0E-8C82-94B4-A893E703C983}"/>
              </a:ext>
            </a:extLst>
          </p:cNvPr>
          <p:cNvCxnSpPr>
            <a:cxnSpLocks/>
          </p:cNvCxnSpPr>
          <p:nvPr/>
        </p:nvCxnSpPr>
        <p:spPr>
          <a:xfrm>
            <a:off x="5259952" y="3361457"/>
            <a:ext cx="11942954" cy="0"/>
          </a:xfrm>
          <a:prstGeom prst="line">
            <a:avLst/>
          </a:prstGeom>
          <a:noFill/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hape4_20220715_102623">
            <a:extLst>
              <a:ext uri="{FF2B5EF4-FFF2-40B4-BE49-F238E27FC236}">
                <a16:creationId xmlns:a16="http://schemas.microsoft.com/office/drawing/2014/main" id="{0F919C52-3DC5-2258-F72C-04D41891C679}"/>
              </a:ext>
            </a:extLst>
          </p:cNvPr>
          <p:cNvCxnSpPr>
            <a:cxnSpLocks/>
          </p:cNvCxnSpPr>
          <p:nvPr/>
        </p:nvCxnSpPr>
        <p:spPr>
          <a:xfrm>
            <a:off x="5259952" y="5143500"/>
            <a:ext cx="11942954" cy="0"/>
          </a:xfrm>
          <a:prstGeom prst="line">
            <a:avLst/>
          </a:prstGeom>
          <a:noFill/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8A01E4A5-6939-6777-676F-E18F0D138B06}"/>
              </a:ext>
            </a:extLst>
          </p:cNvPr>
          <p:cNvSpPr/>
          <p:nvPr/>
        </p:nvSpPr>
        <p:spPr>
          <a:xfrm>
            <a:off x="992219" y="4979093"/>
            <a:ext cx="2180010" cy="41549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 defTabSz="938355">
              <a:defRPr/>
            </a:pPr>
            <a:r>
              <a:rPr lang="en-US" sz="2700" b="1" dirty="0">
                <a:solidFill>
                  <a:schemeClr val="bg1"/>
                </a:solidFill>
                <a:ea typeface="ＭＳ Ｐゴシック" charset="0"/>
                <a:cs typeface="Arial" panose="020B0604020202020204" pitchFamily="34" charset="0"/>
              </a:rPr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8726797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73</TotalTime>
  <Words>15</Words>
  <Application>Microsoft Office PowerPoint</Application>
  <PresentationFormat>Custom</PresentationFormat>
  <Paragraphs>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Crimson Pro</vt:lpstr>
      <vt:lpstr>Aptos</vt:lpstr>
      <vt:lpstr>ＭＳ Ｐゴシック</vt:lpstr>
      <vt:lpstr>Symbol</vt:lpstr>
      <vt:lpstr>Arial</vt:lpstr>
      <vt:lpstr>Custom Design</vt:lpstr>
      <vt:lpstr>think-cell Slide</vt:lpstr>
      <vt:lpstr>Checklist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410</cp:revision>
  <dcterms:created xsi:type="dcterms:W3CDTF">2006-08-16T00:00:00Z</dcterms:created>
  <dcterms:modified xsi:type="dcterms:W3CDTF">2025-10-06T10:19:09Z</dcterms:modified>
  <cp:category/>
  <dc:identifier>DAGkDf5R9EM</dc:identifier>
</cp:coreProperties>
</file>